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3038D2-5F87-4260-93AF-B60666D944F1}" v="1" dt="2024-01-13T00:00:01.4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8" d="100"/>
          <a:sy n="78" d="100"/>
        </p:scale>
        <p:origin x="768" y="4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tlyn Vickers" userId="c9678de01759344a" providerId="LiveId" clId="{6C3038D2-5F87-4260-93AF-B60666D944F1}"/>
    <pc:docChg chg="undo custSel modSld">
      <pc:chgData name="Kaitlyn Vickers" userId="c9678de01759344a" providerId="LiveId" clId="{6C3038D2-5F87-4260-93AF-B60666D944F1}" dt="2024-01-13T00:00:21.447" v="27" actId="1076"/>
      <pc:docMkLst>
        <pc:docMk/>
      </pc:docMkLst>
      <pc:sldChg chg="addSp modSp mod">
        <pc:chgData name="Kaitlyn Vickers" userId="c9678de01759344a" providerId="LiveId" clId="{6C3038D2-5F87-4260-93AF-B60666D944F1}" dt="2024-01-13T00:00:21.447" v="27" actId="1076"/>
        <pc:sldMkLst>
          <pc:docMk/>
          <pc:sldMk cId="3669319244" sldId="362"/>
        </pc:sldMkLst>
        <pc:spChg chg="mod">
          <ac:chgData name="Kaitlyn Vickers" userId="c9678de01759344a" providerId="LiveId" clId="{6C3038D2-5F87-4260-93AF-B60666D944F1}" dt="2024-01-12T23:59:57.595" v="3"/>
          <ac:spMkLst>
            <pc:docMk/>
            <pc:sldMk cId="3669319244" sldId="362"/>
            <ac:spMk id="2" creationId="{D633FD5C-44AB-8F0A-4C52-3A4D78CBE56B}"/>
          </ac:spMkLst>
        </pc:spChg>
        <pc:spChg chg="add mod">
          <ac:chgData name="Kaitlyn Vickers" userId="c9678de01759344a" providerId="LiveId" clId="{6C3038D2-5F87-4260-93AF-B60666D944F1}" dt="2024-01-13T00:00:21.447" v="27" actId="1076"/>
          <ac:spMkLst>
            <pc:docMk/>
            <pc:sldMk cId="3669319244" sldId="362"/>
            <ac:spMk id="6" creationId="{F5AD00DE-B00B-5557-4566-AD9BA6C2BA4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2/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2/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12955" y="1617280"/>
            <a:ext cx="2694039" cy="1314311"/>
          </a:xfrm>
        </p:spPr>
        <p:txBody>
          <a:bodyPr vert="horz"/>
          <a:lstStyle/>
          <a:p>
            <a:r>
              <a:rPr lang="en-US" dirty="0">
                <a:solidFill>
                  <a:srgbClr val="D4DF33"/>
                </a:solidFill>
              </a:rPr>
              <a:t>Customer Churn Insights and Strategies</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65570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dirty="0">
                <a:solidFill>
                  <a:schemeClr val="tx1">
                    <a:lumMod val="100000"/>
                  </a:schemeClr>
                </a:solidFill>
                <a:latin typeface="Trebuchet MS" panose="020B0703020202090204" pitchFamily="34" charset="0"/>
              </a:rPr>
              <a:t>High-Risk Customer Segment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nalysis shows that 30% of churn occurs in specific customer segments. Targeting these groups could significantly improve retention</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solidFill>
                  <a:schemeClr val="tx1">
                    <a:lumMod val="100000"/>
                  </a:schemeClr>
                </a:solidFill>
                <a:latin typeface="Trebuchet MS" panose="020B0703020202090204" pitchFamily="34" charset="0"/>
              </a:rPr>
              <a:t>Focus on Profitability and Consumption Pattern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ur analysis highlights that net margin on power subscriptions and overall electricity consumption are significant indicators of churn. Strengthening customer relationships in these areas, perhaps through loyalty rewards or consumption-based incentives, could effectively reduce churn</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solidFill>
                  <a:schemeClr val="tx1">
                    <a:lumMod val="100000"/>
                  </a:schemeClr>
                </a:solidFill>
                <a:latin typeface="Trebuchet MS" panose="020B0703020202090204" pitchFamily="34" charset="0"/>
              </a:rPr>
              <a:t>Addressing Price Sensitivitie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considerable portion of churn is associated with customers sensitive to pricing changes. Introducing tailored pricing plans, such as a 20% discount, and transparent billing can help retain these customers</a:t>
            </a:r>
          </a:p>
        </p:txBody>
      </p:sp>
      <p:sp>
        <p:nvSpPr>
          <p:cNvPr id="2" name="Title 2">
            <a:extLst>
              <a:ext uri="{FF2B5EF4-FFF2-40B4-BE49-F238E27FC236}">
                <a16:creationId xmlns:a16="http://schemas.microsoft.com/office/drawing/2014/main" id="{D633FD5C-44AB-8F0A-4C52-3A4D78CBE56B}"/>
              </a:ext>
            </a:extLst>
          </p:cNvPr>
          <p:cNvSpPr txBox="1">
            <a:spLocks/>
          </p:cNvSpPr>
          <p:nvPr/>
        </p:nvSpPr>
        <p:spPr>
          <a:xfrm>
            <a:off x="245806" y="3661845"/>
            <a:ext cx="3072890" cy="1314311"/>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sz="1800" dirty="0">
                <a:solidFill>
                  <a:schemeClr val="bg1"/>
                </a:solidFill>
                <a:latin typeface="+mn-lt"/>
              </a:rPr>
              <a:t>Facing a 10% churn rate, Power Co tasked our team to analyze and mitigate customer attrition.</a:t>
            </a:r>
          </a:p>
          <a:p>
            <a:endParaRPr lang="en-US" sz="1800" dirty="0">
              <a:solidFill>
                <a:schemeClr val="bg1"/>
              </a:solidFill>
              <a:latin typeface="+mn-lt"/>
            </a:endParaRPr>
          </a:p>
          <a:p>
            <a:r>
              <a:rPr lang="en-US" sz="1800" dirty="0">
                <a:solidFill>
                  <a:schemeClr val="bg1"/>
                </a:solidFill>
                <a:latin typeface="+mn-lt"/>
              </a:rPr>
              <a:t>Employing advanced data models, we identified critical insights to guide targeted retention efforts.</a:t>
            </a:r>
          </a:p>
        </p:txBody>
      </p:sp>
      <p:sp>
        <p:nvSpPr>
          <p:cNvPr id="6" name="Title 2">
            <a:extLst>
              <a:ext uri="{FF2B5EF4-FFF2-40B4-BE49-F238E27FC236}">
                <a16:creationId xmlns:a16="http://schemas.microsoft.com/office/drawing/2014/main" id="{F5AD00DE-B00B-5557-4566-AD9BA6C2BA47}"/>
              </a:ext>
            </a:extLst>
          </p:cNvPr>
          <p:cNvSpPr txBox="1">
            <a:spLocks/>
          </p:cNvSpPr>
          <p:nvPr/>
        </p:nvSpPr>
        <p:spPr>
          <a:xfrm>
            <a:off x="117988" y="6038738"/>
            <a:ext cx="3072890" cy="1314311"/>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sz="1050" dirty="0">
                <a:solidFill>
                  <a:schemeClr val="bg1"/>
                </a:solidFill>
                <a:latin typeface="+mn-lt"/>
              </a:rPr>
              <a:t>Kaitlyn Vickers</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8</TotalTime>
  <Words>149</Words>
  <Application>Microsoft Office PowerPoint</Application>
  <PresentationFormat>Widescreen</PresentationFormat>
  <Paragraphs>16</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Customer Churn Insights and Strategie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Kaitlyn Vickers</cp:lastModifiedBy>
  <cp:revision>448</cp:revision>
  <cp:lastPrinted>2016-04-06T18:59:25Z</cp:lastPrinted>
  <dcterms:created xsi:type="dcterms:W3CDTF">2016-11-04T11:46:04Z</dcterms:created>
  <dcterms:modified xsi:type="dcterms:W3CDTF">2024-01-13T00:0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